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5" d="100"/>
          <a:sy n="65" d="100"/>
        </p:scale>
        <p:origin x="70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9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9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4325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AD Backup and Restore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8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AD Backup and Restore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 Backup and Restore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19T11:12:58Z</dcterms:created>
  <dcterms:modified xsi:type="dcterms:W3CDTF">2021-02-19T11:13:1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